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</p:sldMasterIdLst>
  <p:notesMasterIdLst>
    <p:notesMasterId r:id="rId12"/>
  </p:notesMasterIdLst>
  <p:handoutMasterIdLst>
    <p:handoutMasterId r:id="rId13"/>
  </p:handoutMasterIdLst>
  <p:sldIdLst>
    <p:sldId id="1279" r:id="rId5"/>
    <p:sldId id="1285" r:id="rId6"/>
    <p:sldId id="1284" r:id="rId7"/>
    <p:sldId id="1281" r:id="rId8"/>
    <p:sldId id="1283" r:id="rId9"/>
    <p:sldId id="1282" r:id="rId10"/>
    <p:sldId id="1280" r:id="rId11"/>
  </p:sldIdLst>
  <p:sldSz cx="12192000" cy="6858000"/>
  <p:notesSz cx="7104063" cy="10234613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FFFFFF"/>
    <a:srgbClr val="C4262E"/>
    <a:srgbClr val="EBEBEB"/>
    <a:srgbClr val="EEEEEE"/>
    <a:srgbClr val="D13B3B"/>
    <a:srgbClr val="F6D8D8"/>
    <a:srgbClr val="EDB638"/>
    <a:srgbClr val="FF791E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1" autoAdjust="0"/>
    <p:restoredTop sz="81301" autoAdjust="0"/>
  </p:normalViewPr>
  <p:slideViewPr>
    <p:cSldViewPr snapToObjects="1">
      <p:cViewPr varScale="1">
        <p:scale>
          <a:sx n="94" d="100"/>
          <a:sy n="94" d="100"/>
        </p:scale>
        <p:origin x="50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3" d="100"/>
          <a:sy n="73" d="100"/>
        </p:scale>
        <p:origin x="3276" y="78"/>
      </p:cViewPr>
      <p:guideLst>
        <p:guide orient="horz" pos="3224"/>
        <p:guide pos="223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5357B84E-E29E-4E9F-8EC4-F0FB55F2E732}" type="datetimeFigureOut">
              <a:rPr lang="en-GB" smtClean="0"/>
              <a:t>31/08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41C9DA03-DF80-4579-B771-6341D7A4BE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01B7E555-9380-714B-AEA7-F0DFB67531BD}" type="datetimeFigureOut">
              <a:t>8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1279525"/>
            <a:ext cx="6135687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35" tIns="49218" rIns="98435" bIns="492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8435" tIns="49218" rIns="98435" bIns="4921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7C0F37E3-D61C-4C4B-8AD2-D70E789ECEC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5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 dirty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resenter</a:t>
            </a:r>
            <a:br>
              <a:rPr lang="en-US" dirty="0"/>
            </a:br>
            <a:r>
              <a:rPr lang="en-US" b="0" dirty="0"/>
              <a:t>Month xx, Year</a:t>
            </a:r>
            <a:endParaRPr lang="en-US" dirty="0"/>
          </a:p>
        </p:txBody>
      </p:sp>
      <p:pic>
        <p:nvPicPr>
          <p:cNvPr id="21" name="Graphic 25">
            <a:extLst>
              <a:ext uri="{FF2B5EF4-FFF2-40B4-BE49-F238E27FC236}">
                <a16:creationId xmlns:a16="http://schemas.microsoft.com/office/drawing/2014/main" id="{5593B607-7B8C-4F6D-8EE2-8FE8C3757D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3131" y="1188720"/>
            <a:ext cx="3945226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70" r="24468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54"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42FDCD-F50C-453E-8FAF-0F2B656F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68" t="46" r="16257"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59332D-409D-466E-B93E-BA168CF8C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5"/>
          <a:stretch/>
        </p:blipFill>
        <p:spPr>
          <a:xfrm flipH="1">
            <a:off x="5561078" y="3176"/>
            <a:ext cx="6626323" cy="68778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0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E7E3B62-6326-D3F3-1692-9A40A8FD59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PSD 4.0 </a:t>
            </a:r>
            <a:r>
              <a:rPr lang="en-US" dirty="0" err="1"/>
              <a:t>dxdiag</a:t>
            </a:r>
            <a:r>
              <a:rPr lang="en-US" dirty="0"/>
              <a:t> outpu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D6F4E7-061A-C1BE-15A9-6CC6FB1A49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rformance Ratin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EE95B-E90A-EF4A-250B-F822F89358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reg Martinjak</a:t>
            </a:r>
          </a:p>
          <a:p>
            <a:r>
              <a:rPr lang="en-US" dirty="0"/>
              <a:t>September, 2023</a:t>
            </a:r>
          </a:p>
        </p:txBody>
      </p:sp>
    </p:spTree>
    <p:extLst>
      <p:ext uri="{BB962C8B-B14F-4D97-AF65-F5344CB8AC3E}">
        <p14:creationId xmlns:p14="http://schemas.microsoft.com/office/powerpoint/2010/main" val="3952907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3EFEB4-0822-7030-A7BD-C48E41CAAC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B88CE0-9F8C-772B-2F1F-86779D657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8A5163-92C8-FA31-C7E6-6B5C80BFB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39" y="1143000"/>
            <a:ext cx="4410075" cy="20764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565897-524B-DC8B-B530-94E35ED93D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239" y="3962400"/>
            <a:ext cx="6677025" cy="21240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2EE87C-5B2A-D6C3-20A7-0F1EF35E37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795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313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A149C1-3769-0EC2-8D47-CFF18CDB7A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E3F515-AC4F-3A66-330B-EADAB8244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1">
            <a:extLst>
              <a:ext uri="{FF2B5EF4-FFF2-40B4-BE49-F238E27FC236}">
                <a16:creationId xmlns:a16="http://schemas.microsoft.com/office/drawing/2014/main" id="{D6BD1B31-2CB4-76B4-AB78-76A790C915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0" t="8175" r="4686" b="52200"/>
          <a:stretch/>
        </p:blipFill>
        <p:spPr bwMode="auto">
          <a:xfrm>
            <a:off x="235043" y="3418199"/>
            <a:ext cx="8991600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1">
            <a:extLst>
              <a:ext uri="{FF2B5EF4-FFF2-40B4-BE49-F238E27FC236}">
                <a16:creationId xmlns:a16="http://schemas.microsoft.com/office/drawing/2014/main" id="{6F7D0382-1EB2-9EE1-0E41-4920F0CDFC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72" t="35425" r="16505" b="23701"/>
          <a:stretch/>
        </p:blipFill>
        <p:spPr bwMode="auto">
          <a:xfrm>
            <a:off x="235043" y="960120"/>
            <a:ext cx="46482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2BD219-65C6-CC93-A8BC-3B39E090D3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81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050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006556-49AE-8106-D450-27A133E42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34C32-5403-EE8E-018C-12C415A1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ach Zellhart</a:t>
            </a:r>
          </a:p>
        </p:txBody>
      </p:sp>
      <p:pic>
        <p:nvPicPr>
          <p:cNvPr id="2050" name="Picture 12">
            <a:extLst>
              <a:ext uri="{FF2B5EF4-FFF2-40B4-BE49-F238E27FC236}">
                <a16:creationId xmlns:a16="http://schemas.microsoft.com/office/drawing/2014/main" id="{665B571A-AA24-B9BC-C05A-85D9121DB4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5" t="33024" r="12430" b="18943"/>
          <a:stretch/>
        </p:blipFill>
        <p:spPr bwMode="auto">
          <a:xfrm>
            <a:off x="269239" y="1300163"/>
            <a:ext cx="4343401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13">
            <a:extLst>
              <a:ext uri="{FF2B5EF4-FFF2-40B4-BE49-F238E27FC236}">
                <a16:creationId xmlns:a16="http://schemas.microsoft.com/office/drawing/2014/main" id="{3EDF9191-A2D3-4216-F22E-F4A4B15FBB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8" b="57911"/>
          <a:stretch/>
        </p:blipFill>
        <p:spPr bwMode="auto">
          <a:xfrm>
            <a:off x="269240" y="3999217"/>
            <a:ext cx="6700837" cy="197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3E570A-65C4-91B9-7AD9-8CE545678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80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38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4B9FB9-E435-B34F-9A46-93A44496FC5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F728A9-F13B-BD0D-3245-AEA2974FE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B68DA5-E227-7EC7-0346-FB6212EB4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g Martinja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8B6658-8F58-9DDF-90FD-C803668490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39" y="1104900"/>
            <a:ext cx="4229100" cy="21240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E00AF9-B45A-3DFD-3C06-47012D34C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239" y="3429000"/>
            <a:ext cx="6629400" cy="1981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D63F6F-D08E-F7BA-29F8-C04882C907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9028"/>
            <a:ext cx="12192000" cy="82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979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006556-49AE-8106-D450-27A133E42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634C32-5403-EE8E-018C-12C415A16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an </a:t>
            </a:r>
            <a:r>
              <a:rPr lang="en-US" dirty="0" err="1"/>
              <a:t>Arino</a:t>
            </a:r>
            <a:endParaRPr lang="en-US" dirty="0"/>
          </a:p>
        </p:txBody>
      </p:sp>
      <p:pic>
        <p:nvPicPr>
          <p:cNvPr id="3074" name="Image 11">
            <a:extLst>
              <a:ext uri="{FF2B5EF4-FFF2-40B4-BE49-F238E27FC236}">
                <a16:creationId xmlns:a16="http://schemas.microsoft.com/office/drawing/2014/main" id="{3E8DF8B4-ED49-CDD5-87C6-36083DE3A2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0" t="34299" r="11943" b="14860"/>
          <a:stretch/>
        </p:blipFill>
        <p:spPr bwMode="auto">
          <a:xfrm>
            <a:off x="269240" y="914400"/>
            <a:ext cx="5181601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Image 14">
            <a:extLst>
              <a:ext uri="{FF2B5EF4-FFF2-40B4-BE49-F238E27FC236}">
                <a16:creationId xmlns:a16="http://schemas.microsoft.com/office/drawing/2014/main" id="{1AF33F6E-6B16-96A6-51A5-7B94E5E1CD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9" b="43226"/>
          <a:stretch/>
        </p:blipFill>
        <p:spPr bwMode="auto">
          <a:xfrm>
            <a:off x="269239" y="3700139"/>
            <a:ext cx="75438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661467-2F8C-274A-22C6-3C919EC669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788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3818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F2E9B3-E5F5-F1D2-5B7F-1DDC4934AB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4E0E52-8970-F7BD-17A7-BC50F4948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m Vissers</a:t>
            </a:r>
          </a:p>
        </p:txBody>
      </p:sp>
      <p:pic>
        <p:nvPicPr>
          <p:cNvPr id="1026" name="Picture 11">
            <a:extLst>
              <a:ext uri="{FF2B5EF4-FFF2-40B4-BE49-F238E27FC236}">
                <a16:creationId xmlns:a16="http://schemas.microsoft.com/office/drawing/2014/main" id="{EC7048D4-7E6E-C395-8D97-94B97D9B28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0" t="32959" r="28731" b="23595"/>
          <a:stretch/>
        </p:blipFill>
        <p:spPr bwMode="auto">
          <a:xfrm>
            <a:off x="363219" y="1319516"/>
            <a:ext cx="5064761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2">
            <a:extLst>
              <a:ext uri="{FF2B5EF4-FFF2-40B4-BE49-F238E27FC236}">
                <a16:creationId xmlns:a16="http://schemas.microsoft.com/office/drawing/2014/main" id="{FB5F2815-FA71-4FFD-CA2B-3EA2BF993A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2" t="7425" r="11514" b="51974"/>
          <a:stretch/>
        </p:blipFill>
        <p:spPr bwMode="auto">
          <a:xfrm>
            <a:off x="274320" y="3898901"/>
            <a:ext cx="647700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A1E38D-ADB7-4E62-FCF9-F6BAEC68BA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99" y="11292"/>
            <a:ext cx="12192000" cy="81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662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5C4906C9618549B8794B1FB974AFA8" ma:contentTypeVersion="17" ma:contentTypeDescription="Create a new document." ma:contentTypeScope="" ma:versionID="b9f5d73b6a46e240655490dcd1138681">
  <xsd:schema xmlns:xsd="http://www.w3.org/2001/XMLSchema" xmlns:xs="http://www.w3.org/2001/XMLSchema" xmlns:p="http://schemas.microsoft.com/office/2006/metadata/properties" xmlns:ns2="2f263567-bae2-4940-9490-a9b9ac518b17" xmlns:ns3="edc82b38-c6e5-48a2-a01a-e90ccae5b63e" targetNamespace="http://schemas.microsoft.com/office/2006/metadata/properties" ma:root="true" ma:fieldsID="8e3caaebe4cf9d15db2a9275bafe8bf2" ns2:_="" ns3:_="">
    <xsd:import namespace="2f263567-bae2-4940-9490-a9b9ac518b17"/>
    <xsd:import namespace="edc82b38-c6e5-48a2-a01a-e90ccae5b6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263567-bae2-4940-9490-a9b9ac518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c82b38-c6e5-48a2-a01a-e90ccae5b63e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075210D-39C9-487F-8C61-E75FBCDE87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263567-bae2-4940-9490-a9b9ac518b17"/>
    <ds:schemaRef ds:uri="edc82b38-c6e5-48a2-a01a-e90ccae5b6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ADB305-E294-4EB3-9C3B-43517B28B3E2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263567-bae2-4940-9490-a9b9ac518b17"/>
    <ds:schemaRef ds:uri="http://purl.org/dc/terms/"/>
    <ds:schemaRef ds:uri="http://schemas.microsoft.com/office/2006/documentManagement/types"/>
    <ds:schemaRef ds:uri="edc82b38-c6e5-48a2-a01a-e90ccae5b63e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30982</TotalTime>
  <Words>19</Words>
  <Application>Microsoft Office PowerPoint</Application>
  <PresentationFormat>Widescreen</PresentationFormat>
  <Paragraphs>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Roboto</vt:lpstr>
      <vt:lpstr>Roboto Light</vt:lpstr>
      <vt:lpstr>Symbol</vt:lpstr>
      <vt:lpstr>Wingdings</vt:lpstr>
      <vt:lpstr>Bottomblack1</vt:lpstr>
      <vt:lpstr>think-cell Slide</vt:lpstr>
      <vt:lpstr>Performance Ratings</vt:lpstr>
      <vt:lpstr>PowerPoint Presentation</vt:lpstr>
      <vt:lpstr>PowerPoint Presentation</vt:lpstr>
      <vt:lpstr>Zach Zellhart</vt:lpstr>
      <vt:lpstr>Greg Martinjak</vt:lpstr>
      <vt:lpstr>Joan Arino</vt:lpstr>
      <vt:lpstr>Tom Vissers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Martinjak, Greg</cp:lastModifiedBy>
  <cp:revision>433</cp:revision>
  <cp:lastPrinted>2020-04-20T11:01:46Z</cp:lastPrinted>
  <dcterms:created xsi:type="dcterms:W3CDTF">2020-01-13T08:28:04Z</dcterms:created>
  <dcterms:modified xsi:type="dcterms:W3CDTF">2023-08-31T12:3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5C4906C9618549B8794B1FB974AFA8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</Properties>
</file>